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8200"/>
            <a:ext cx="41229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r>
              <a:rPr sz="1800">
                <a:solidFill>
                  <a:srgbClr val="000000"/>
                </a:solidFill>
              </a:rPr>
              <a:t/>
            </a:r>
            <a:br>
              <a:rPr sz="1800"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38153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92862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1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81557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1" y="1025527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0933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76261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641934" y="6476331"/>
            <a:ext cx="79989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es</a:t>
            </a:r>
            <a:endParaRPr lang="es-ES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41229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r>
              <a:rPr sz="1800">
                <a:solidFill>
                  <a:srgbClr val="000000"/>
                </a:solidFill>
              </a:rPr>
              <a:t/>
            </a:r>
            <a:br>
              <a:rPr sz="1800"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</p:spTree>
    <p:extLst>
      <p:ext uri="{BB962C8B-B14F-4D97-AF65-F5344CB8AC3E}">
        <p14:creationId xmlns:p14="http://schemas.microsoft.com/office/powerpoint/2010/main" val="25803489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9962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641934" y="6476331"/>
            <a:ext cx="79989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es</a:t>
            </a:r>
            <a:endParaRPr lang="es-ES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41229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r>
              <a:rPr sz="1800">
                <a:solidFill>
                  <a:srgbClr val="000000"/>
                </a:solidFill>
              </a:rPr>
              <a:t/>
            </a:r>
            <a:br>
              <a:rPr sz="1800"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</p:spTree>
    <p:extLst>
      <p:ext uri="{BB962C8B-B14F-4D97-AF65-F5344CB8AC3E}">
        <p14:creationId xmlns:p14="http://schemas.microsoft.com/office/powerpoint/2010/main" val="1494563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9" y="6626227"/>
            <a:ext cx="251992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smtClean="0">
                <a:solidFill>
                  <a:srgbClr val="7F7F7F"/>
                </a:solidFill>
              </a:rPr>
              <a:t>Plantilla Sidel 2013, </a:t>
            </a:r>
            <a:fld id="{74360A6C-0130-475B-8B37-F39CE4E35109}" type="datetime4">
              <a:rPr lang="en-GB" sz="900" smtClean="0">
                <a:solidFill>
                  <a:srgbClr val="7F7F7F"/>
                </a:solidFill>
              </a:rPr>
              <a:pPr/>
              <a:t>11 August 2014</a:t>
            </a:fld>
            <a:r>
              <a:rPr lang="en-GB" sz="900" smtClean="0">
                <a:solidFill>
                  <a:srgbClr val="7F7F7F"/>
                </a:solidFill>
              </a:rPr>
              <a:t> Confidencial</a:t>
            </a:r>
            <a:endParaRPr lang="es-ES" sz="900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1" y="6626227"/>
            <a:ext cx="59792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smtClean="0">
                <a:solidFill>
                  <a:srgbClr val="7F7F7F"/>
                </a:solidFill>
              </a:rPr>
              <a:t>Página </a:t>
            </a:r>
            <a:fld id="{7873E190-40CF-412D-9604-1EFCEB1508B2}" type="slidenum">
              <a:rPr lang="en-GB" sz="900" smtClean="0">
                <a:solidFill>
                  <a:srgbClr val="7F7F7F"/>
                </a:solidFill>
              </a:rPr>
              <a:pPr/>
              <a:t>‹N°›</a:t>
            </a:fld>
            <a:endParaRPr lang="es-ES" sz="900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1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45756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3087839"/>
              </p:ext>
            </p:extLst>
          </p:nvPr>
        </p:nvGraphicFramePr>
        <p:xfrm>
          <a:off x="651885" y="1743077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s-ES" altLang="de-DE" sz="12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Reducción de la necesidad de mantenimiento</a:t>
                      </a:r>
                    </a:p>
                    <a:p>
                      <a:pPr marL="720725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s-ES" altLang="de-DE" sz="10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El aspirador ventilador se encuentra situado al final de la chimenea. Gracias a la amplia distancia que existe entre el filtro y el ventilador, las partículas de cola que no haya atrapado el filtro se van enfriando a lo largo de la tubería.</a:t>
                      </a:r>
                    </a:p>
                    <a:p>
                      <a:pPr marL="720725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s-ES" altLang="de-DE" sz="10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Así se reduce considerablemente la acumulación de partículas de cola en las palas del ventilador y la vida útil de este último es mucho más larga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en-US" altLang="de-DE" sz="1200" b="0" noProof="1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a campana sobre el rodillo de encola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 filtro de partículas de cola bajo el zócalo de la estación de etiquetado, al que se puede acceder fácilmente para sustituirlo o limpiarl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 aspirador ventilador situado al final de la chimenea, en la parte superior de la etiquetadora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tuberías de conexión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Mejore el proceso de etiquetado y reduzca el </a:t>
            </a:r>
            <a:r>
              <a:rPr lang="es-ES" dirty="0" smtClean="0"/>
              <a:t>mantenimiento</a:t>
            </a: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2" y="1329272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dirty="0" err="1"/>
              <a:t>Extractor</a:t>
            </a:r>
            <a:r>
              <a:rPr lang="fr-FR" dirty="0"/>
              <a:t> de </a:t>
            </a:r>
            <a:r>
              <a:rPr lang="fr-FR" dirty="0" err="1"/>
              <a:t>humos</a:t>
            </a:r>
            <a:r>
              <a:rPr lang="fr-FR" dirty="0"/>
              <a:t> de cola</a:t>
            </a:r>
            <a:endParaRPr dirty="0" smtClean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dirty="0">
                <a:solidFill>
                  <a:srgbClr val="000000"/>
                </a:solidFill>
              </a:rPr>
              <a:t>Valor: </a:t>
            </a:r>
            <a:r>
              <a:rPr lang="fr-FR" dirty="0" err="1" smtClean="0">
                <a:solidFill>
                  <a:srgbClr val="000000"/>
                </a:solidFill>
              </a:rPr>
              <a:t>Eficiencia</a:t>
            </a:r>
            <a:endParaRPr dirty="0">
              <a:solidFill>
                <a:srgbClr val="000000"/>
              </a:solidFill>
            </a:endParaRPr>
          </a:p>
          <a:p>
            <a:r>
              <a:rPr dirty="0">
                <a:solidFill>
                  <a:srgbClr val="000000"/>
                </a:solidFill>
              </a:rPr>
              <a:t>Equipo: etiquetadoras (Rollquattro)</a:t>
            </a:r>
            <a:endParaRPr lang="es-ES" dirty="0">
              <a:solidFill>
                <a:srgbClr val="000000"/>
              </a:solidFill>
            </a:endParaRPr>
          </a:p>
          <a:p>
            <a:r>
              <a:rPr dirty="0">
                <a:solidFill>
                  <a:srgbClr val="000000"/>
                </a:solidFill>
              </a:rPr>
              <a:t>Código de catálogo</a:t>
            </a:r>
            <a:r>
              <a:rPr dirty="0">
                <a:solidFill>
                  <a:srgbClr val="000000"/>
                </a:solidFill>
              </a:rPr>
              <a:t>: </a:t>
            </a:r>
            <a:r>
              <a:rPr dirty="0" smtClean="0">
                <a:solidFill>
                  <a:srgbClr val="000000"/>
                </a:solidFill>
              </a:rPr>
              <a:t>AA0</a:t>
            </a:r>
            <a:r>
              <a:rPr lang="fr-FR" dirty="0" smtClean="0">
                <a:solidFill>
                  <a:srgbClr val="000000"/>
                </a:solidFill>
              </a:rPr>
              <a:t>4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2" y="12702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9570" y="3922413"/>
            <a:ext cx="1233598" cy="167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8983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4</Words>
  <Application>Microsoft Office PowerPoint</Application>
  <PresentationFormat>Affichage à l'écran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Sidel Template 2013</vt:lpstr>
      <vt:lpstr>think-cell Folie</vt:lpstr>
      <vt:lpstr>Mejore el proceso de etiquetado y reduzca el mantenimiento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mente su producción diaria gracias al empalmador automático</dc:title>
  <dc:creator>De Chanteloup, Barbara</dc:creator>
  <cp:lastModifiedBy>De Chanteloup, Barbara</cp:lastModifiedBy>
  <cp:revision>2</cp:revision>
  <dcterms:created xsi:type="dcterms:W3CDTF">2014-08-11T09:23:14Z</dcterms:created>
  <dcterms:modified xsi:type="dcterms:W3CDTF">2014-08-11T09:26:52Z</dcterms:modified>
</cp:coreProperties>
</file>